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62" r:id="rId2"/>
    <p:sldId id="359" r:id="rId3"/>
    <p:sldId id="367" r:id="rId4"/>
    <p:sldId id="366" r:id="rId5"/>
    <p:sldId id="364" r:id="rId6"/>
    <p:sldId id="365" r:id="rId7"/>
    <p:sldId id="368" r:id="rId8"/>
  </p:sldIdLst>
  <p:sldSz cx="9144000" cy="6858000" type="screen4x3"/>
  <p:notesSz cx="6858000" cy="9144000"/>
  <p:custDataLst>
    <p:tags r:id="rId11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3200" kern="1200">
        <a:solidFill>
          <a:srgbClr val="003366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rgbClr val="003366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rgbClr val="003366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rgbClr val="003366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rgbClr val="003366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3200" kern="1200">
        <a:solidFill>
          <a:srgbClr val="003366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3200" kern="1200">
        <a:solidFill>
          <a:srgbClr val="003366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3200" kern="1200">
        <a:solidFill>
          <a:srgbClr val="003366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3200" kern="1200">
        <a:solidFill>
          <a:srgbClr val="003366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eroen Ketting" initials="JK" lastIdx="24" clrIdx="0"/>
  <p:cmAuthor id="1" name="AN" initials="AN" lastIdx="1" clrIdx="1"/>
  <p:cmAuthor id="2" name="Анастасия" initials="А" lastIdx="1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336699"/>
    <a:srgbClr val="000099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082" autoAdjust="0"/>
  </p:normalViewPr>
  <p:slideViewPr>
    <p:cSldViewPr>
      <p:cViewPr>
        <p:scale>
          <a:sx n="70" d="100"/>
          <a:sy n="70" d="100"/>
        </p:scale>
        <p:origin x="-1488" y="-3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9" d="100"/>
          <a:sy n="59" d="100"/>
        </p:scale>
        <p:origin x="-1890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4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AB2455F-664B-4499-8C40-BC99FE0F0D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78191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36CA989-753C-4D33-B990-DE712A0AA8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86101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3.emf"/><Relationship Id="rId5" Type="http://schemas.openxmlformats.org/officeDocument/2006/relationships/tags" Target="../tags/tag5.xml"/><Relationship Id="rId10" Type="http://schemas.openxmlformats.org/officeDocument/2006/relationships/image" Target="../media/image2.emf"/><Relationship Id="rId4" Type="http://schemas.openxmlformats.org/officeDocument/2006/relationships/tags" Target="../tags/tag4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2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-11113"/>
            <a:ext cx="9166225" cy="923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8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47813" y="33338"/>
            <a:ext cx="177165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9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003800" y="322263"/>
            <a:ext cx="3048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14" descr="09928.png"/>
          <p:cNvPicPr>
            <a:picLocks noChangeAspect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843807" y="3573016"/>
            <a:ext cx="3986213" cy="235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19250" y="1484313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4673CA-E44E-4162-A725-F73C5AA502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57943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57943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6F411C-41E9-4088-BAAB-69B28BAE56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2013D-D05B-45BE-960D-5C6D5EFD87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:\Documents and Settings\Anastasia\Мои документы\Мои рисунки\Организатор клипов (Microsoft)\j0439830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00938" y="5072063"/>
            <a:ext cx="1428750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D561F1-1D85-4E4C-BB2D-EA688A35E5E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59313" y="1268413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FA446A-B87C-46CC-9BBF-35DCBB8A6F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C53A60-8DB3-49FB-A67C-7973CB886C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E8B992-8FF2-438B-8070-6BED8CADD9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0D8B9E-22CA-44A5-80CA-16CC2510A3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6EE9F2-389D-4940-9C7F-C809C066FC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A5C7C9-CBFC-470B-BF67-173DC3B6BA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43213" y="6597650"/>
            <a:ext cx="35274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100">
                <a:latin typeface="+mn-lt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WWW.THELIGHTHOUSEGROUP.RU</a:t>
            </a: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597650"/>
            <a:ext cx="21336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6D52AB13-BD49-42BD-B4EC-F1BC0717D1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3079" name="Picture 7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-11113"/>
            <a:ext cx="9166225" cy="923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0" name="Picture 8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547813" y="0"/>
            <a:ext cx="177165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1" name="Picture 9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003800" y="333375"/>
            <a:ext cx="3048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6" name="Line 12"/>
          <p:cNvSpPr>
            <a:spLocks noChangeShapeType="1"/>
          </p:cNvSpPr>
          <p:nvPr userDrawn="1"/>
        </p:nvSpPr>
        <p:spPr bwMode="auto">
          <a:xfrm>
            <a:off x="0" y="6564313"/>
            <a:ext cx="9144000" cy="0"/>
          </a:xfrm>
          <a:prstGeom prst="line">
            <a:avLst/>
          </a:prstGeom>
          <a:noFill/>
          <a:ln w="2540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81" r:id="rId1"/>
    <p:sldLayoutId id="2147484372" r:id="rId2"/>
    <p:sldLayoutId id="2147484382" r:id="rId3"/>
    <p:sldLayoutId id="2147484373" r:id="rId4"/>
    <p:sldLayoutId id="2147484374" r:id="rId5"/>
    <p:sldLayoutId id="2147484375" r:id="rId6"/>
    <p:sldLayoutId id="2147484376" r:id="rId7"/>
    <p:sldLayoutId id="2147484377" r:id="rId8"/>
    <p:sldLayoutId id="2147484378" r:id="rId9"/>
    <p:sldLayoutId id="2147484379" r:id="rId10"/>
    <p:sldLayoutId id="2147484380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Verdana" pitchFamily="34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Verdana" pitchFamily="34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Verdana" pitchFamily="34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Verdana" pitchFamily="34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Verdana" pitchFamily="34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Verdana" pitchFamily="34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Verdana" pitchFamily="34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003366"/>
          </a:solidFill>
          <a:latin typeface="Verdana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3366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3366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3366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3366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WWW.THELIGHTHOUSEGROUP.RU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D2013D-D05B-45BE-960D-5C6D5EFD87A3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  <p:pic>
        <p:nvPicPr>
          <p:cNvPr id="52230" name="Picture 6" descr="Картинка 5 из 9318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15816" y="3789040"/>
            <a:ext cx="3312368" cy="1860280"/>
          </a:xfrm>
          <a:prstGeom prst="rect">
            <a:avLst/>
          </a:prstGeom>
          <a:noFill/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177800" y="1268760"/>
            <a:ext cx="8788400" cy="2650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Verdana" pitchFamily="34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Verdana" pitchFamily="34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Verdana" pitchFamily="34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Verdana" pitchFamily="34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Verdana" pitchFamily="34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Verdana" pitchFamily="34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Verdana" pitchFamily="34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003366"/>
                </a:solidFill>
                <a:latin typeface="Verdana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GB" b="1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GB" b="1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GB" b="1" dirty="0" smtClean="0"/>
              <a:t>Economic Modernization   in Russia: </a:t>
            </a:r>
            <a:r>
              <a:rPr lang="en-GB" b="1" i="1" dirty="0" smtClean="0"/>
              <a:t/>
            </a:r>
            <a:br>
              <a:rPr lang="en-GB" b="1" i="1" dirty="0" smtClean="0"/>
            </a:br>
            <a:r>
              <a:rPr lang="en-GB" sz="3600" b="1" dirty="0" smtClean="0"/>
              <a:t>Opportunities of the EU-Russian partnership in Energy Efficiency</a:t>
            </a:r>
            <a:r>
              <a:rPr lang="en-GB" b="1" i="1" u="sng" dirty="0" smtClean="0"/>
              <a:t/>
            </a:r>
            <a:br>
              <a:rPr lang="en-GB" b="1" i="1" u="sng" dirty="0" smtClean="0"/>
            </a:b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en-GB" sz="2800" b="1" dirty="0" smtClean="0"/>
              <a:t/>
            </a:r>
            <a:br>
              <a:rPr lang="en-GB" sz="2800" b="1" dirty="0" smtClean="0"/>
            </a:br>
            <a:r>
              <a:rPr lang="en-GB" sz="1100" b="1" dirty="0" smtClean="0"/>
              <a:t/>
            </a:r>
            <a:br>
              <a:rPr lang="en-GB" sz="1100" b="1" dirty="0" smtClean="0"/>
            </a:br>
            <a:r>
              <a:rPr lang="en-GB" altLang="de-DE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GB" altLang="de-DE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sz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75332" y="5816959"/>
            <a:ext cx="573270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ts val="0"/>
              </a:spcBef>
              <a:buSzPct val="100000"/>
              <a:defRPr/>
            </a:pPr>
            <a:r>
              <a:rPr lang="en-GB" sz="1800" b="1" dirty="0">
                <a:latin typeface="+mn-lt"/>
              </a:rPr>
              <a:t>By: </a:t>
            </a:r>
            <a:r>
              <a:rPr lang="en-GB" sz="1800" b="1" dirty="0" smtClean="0">
                <a:latin typeface="+mn-lt"/>
              </a:rPr>
              <a:t>Jeroen Ketting </a:t>
            </a:r>
          </a:p>
          <a:p>
            <a:pPr eaLnBrk="0" hangingPunct="0">
              <a:spcBef>
                <a:spcPts val="0"/>
              </a:spcBef>
              <a:buSzPct val="100000"/>
              <a:defRPr/>
            </a:pPr>
            <a:r>
              <a:rPr lang="en-GB" sz="1800" b="1" dirty="0" smtClean="0">
                <a:latin typeface="+mn-lt"/>
              </a:rPr>
              <a:t>Managing Director, Lighthouse Russia BV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79512" y="980728"/>
            <a:ext cx="8964488" cy="5400600"/>
          </a:xfrm>
        </p:spPr>
        <p:txBody>
          <a:bodyPr/>
          <a:lstStyle/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800" b="1" u="sng" dirty="0" smtClean="0"/>
              <a:t>Benefits of EU-Russian Partnership</a:t>
            </a: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 smtClean="0"/>
              <a:t>Import of technologies, equipment, materials. </a:t>
            </a: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 smtClean="0"/>
              <a:t>Transfer of expertise and knowledge.</a:t>
            </a: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 smtClean="0"/>
              <a:t>Venture investments into Russian SMEs.</a:t>
            </a: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None/>
            </a:pPr>
            <a:endParaRPr lang="en-US" sz="2000" dirty="0" smtClean="0"/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None/>
            </a:pPr>
            <a:endParaRPr lang="en-US" sz="2000" dirty="0" smtClean="0"/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2000" dirty="0" smtClean="0"/>
              <a:t>De-monopolization and sophistication of Russian markets through increased competition.</a:t>
            </a: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 smtClean="0"/>
              <a:t>This will also lead to increased energy efficiency of the Russian economy.</a:t>
            </a:r>
            <a:endParaRPr lang="en-US" sz="2000" dirty="0" smtClean="0"/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None/>
            </a:pPr>
            <a:endParaRPr lang="en-US" sz="2000" dirty="0" smtClean="0"/>
          </a:p>
          <a:p>
            <a:pPr marL="457200" indent="-457200" algn="ctr">
              <a:spcBef>
                <a:spcPts val="0"/>
              </a:spcBef>
              <a:spcAft>
                <a:spcPts val="600"/>
              </a:spcAft>
              <a:buNone/>
            </a:pPr>
            <a:endParaRPr lang="en-US" sz="2000" dirty="0" smtClean="0"/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000" dirty="0" smtClean="0"/>
              <a:t>      And thus to the Economic Modernization in Russia!</a:t>
            </a:r>
          </a:p>
          <a:p>
            <a:pPr marL="457200" indent="-457200">
              <a:spcAft>
                <a:spcPts val="600"/>
              </a:spcAft>
              <a:buNone/>
            </a:pPr>
            <a:endParaRPr lang="en-US" sz="2400" dirty="0" smtClean="0"/>
          </a:p>
          <a:p>
            <a:pPr>
              <a:buNone/>
            </a:pPr>
            <a:endParaRPr lang="ru-RU" sz="240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WWW.THELIGHTHOUSEGROUP.RU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D2013D-D05B-45BE-960D-5C6D5EFD87A3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7" name="Стрелка вправо 6"/>
          <p:cNvSpPr/>
          <p:nvPr/>
        </p:nvSpPr>
        <p:spPr bwMode="auto">
          <a:xfrm rot="5400000">
            <a:off x="3923928" y="2672916"/>
            <a:ext cx="648072" cy="864096"/>
          </a:xfrm>
          <a:prstGeom prst="rightArrow">
            <a:avLst/>
          </a:prstGeom>
          <a:solidFill>
            <a:srgbClr val="003366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" name="Стрелка вправо 7"/>
          <p:cNvSpPr/>
          <p:nvPr/>
        </p:nvSpPr>
        <p:spPr bwMode="auto">
          <a:xfrm rot="5400000">
            <a:off x="3959932" y="4617132"/>
            <a:ext cx="648072" cy="864096"/>
          </a:xfrm>
          <a:prstGeom prst="rightArrow">
            <a:avLst/>
          </a:prstGeom>
          <a:solidFill>
            <a:srgbClr val="003366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Заголовок 1"/>
          <p:cNvSpPr>
            <a:spLocks noGrp="1"/>
          </p:cNvSpPr>
          <p:nvPr>
            <p:ph type="title"/>
          </p:nvPr>
        </p:nvSpPr>
        <p:spPr>
          <a:xfrm>
            <a:off x="0" y="620688"/>
            <a:ext cx="9144000" cy="1125537"/>
          </a:xfrm>
        </p:spPr>
        <p:txBody>
          <a:bodyPr/>
          <a:lstStyle/>
          <a:p>
            <a:r>
              <a:rPr lang="en-US" sz="3200" b="1" u="sng" dirty="0" smtClean="0">
                <a:latin typeface="Arial" pitchFamily="34" charset="0"/>
                <a:cs typeface="Arial" pitchFamily="34" charset="0"/>
              </a:rPr>
              <a:t>Investment into Energy Efficiency in Russia</a:t>
            </a:r>
            <a:endParaRPr lang="ru-RU" sz="3200" b="1" u="sng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171" name="Содержимое 2"/>
          <p:cNvSpPr>
            <a:spLocks noGrp="1"/>
          </p:cNvSpPr>
          <p:nvPr>
            <p:ph idx="1"/>
          </p:nvPr>
        </p:nvSpPr>
        <p:spPr>
          <a:xfrm>
            <a:off x="198594" y="1500187"/>
            <a:ext cx="8929687" cy="4714875"/>
          </a:xfrm>
        </p:spPr>
        <p:txBody>
          <a:bodyPr/>
          <a:lstStyle/>
          <a:p>
            <a:pPr marL="457200" indent="-457200">
              <a:spcBef>
                <a:spcPts val="400"/>
              </a:spcBef>
              <a:buFontTx/>
              <a:buAutoNum type="arabicPeriod"/>
            </a:pPr>
            <a:r>
              <a:rPr lang="en-US" sz="1800" dirty="0" smtClean="0"/>
              <a:t>The Russian Ministry of Energy estimates that until 2020 </a:t>
            </a:r>
            <a:r>
              <a:rPr lang="en-US" sz="1800" b="1" dirty="0" smtClean="0"/>
              <a:t>$80 bn. </a:t>
            </a:r>
            <a:r>
              <a:rPr lang="en-US" sz="1800" dirty="0" smtClean="0"/>
              <a:t> need to be invested into energy efficiency and </a:t>
            </a:r>
            <a:r>
              <a:rPr lang="en-US" sz="1800" b="1" dirty="0" smtClean="0"/>
              <a:t>$300 bn.</a:t>
            </a:r>
            <a:r>
              <a:rPr lang="en-US" sz="1800" dirty="0" smtClean="0"/>
              <a:t> in renewable energy:</a:t>
            </a:r>
          </a:p>
          <a:p>
            <a:pPr marL="457200" indent="-457200">
              <a:spcBef>
                <a:spcPts val="400"/>
              </a:spcBef>
              <a:buFont typeface="Wingdings" pitchFamily="2" charset="2"/>
              <a:buChar char="Ø"/>
            </a:pPr>
            <a:r>
              <a:rPr lang="en-US" sz="1800" dirty="0" smtClean="0"/>
              <a:t>to reduce energy intensity of the Russian economy </a:t>
            </a:r>
            <a:r>
              <a:rPr lang="en-US" sz="1800" b="1" dirty="0" smtClean="0"/>
              <a:t>by 40%;</a:t>
            </a:r>
          </a:p>
          <a:p>
            <a:pPr marL="457200" indent="-457200">
              <a:spcBef>
                <a:spcPts val="400"/>
              </a:spcBef>
              <a:buFont typeface="Wingdings" pitchFamily="2" charset="2"/>
              <a:buChar char="Ø"/>
            </a:pPr>
            <a:r>
              <a:rPr lang="en-US" sz="1800" dirty="0" smtClean="0"/>
              <a:t>to reduce energy consumption </a:t>
            </a:r>
            <a:r>
              <a:rPr lang="en-US" sz="1800" b="1" dirty="0" smtClean="0"/>
              <a:t>by 45%.</a:t>
            </a:r>
          </a:p>
          <a:p>
            <a:pPr marL="457200" indent="-457200">
              <a:spcBef>
                <a:spcPts val="400"/>
              </a:spcBef>
              <a:buFontTx/>
              <a:buNone/>
            </a:pPr>
            <a:endParaRPr lang="en-US" sz="1800" b="1" dirty="0" smtClean="0"/>
          </a:p>
          <a:p>
            <a:pPr marL="457200" indent="-457200" algn="ctr">
              <a:spcBef>
                <a:spcPts val="400"/>
              </a:spcBef>
              <a:buFontTx/>
              <a:buNone/>
            </a:pPr>
            <a:endParaRPr lang="en-US" sz="1800" b="1" dirty="0" smtClean="0"/>
          </a:p>
          <a:p>
            <a:pPr marL="457200" indent="-457200" algn="ctr">
              <a:spcBef>
                <a:spcPts val="400"/>
              </a:spcBef>
              <a:buFontTx/>
              <a:buNone/>
            </a:pPr>
            <a:r>
              <a:rPr lang="en-US" sz="1800" b="1" dirty="0" smtClean="0"/>
              <a:t>The EE investments in Russia are still very low, compared to worldwide figures:</a:t>
            </a:r>
          </a:p>
          <a:p>
            <a:pPr marL="457200" indent="-457200">
              <a:spcBef>
                <a:spcPts val="400"/>
              </a:spcBef>
              <a:buFontTx/>
              <a:buAutoNum type="arabicPeriod"/>
            </a:pPr>
            <a:r>
              <a:rPr lang="en-US" sz="1800" dirty="0" smtClean="0"/>
              <a:t>Investments into energy efficiency and renewable energy in Russia in 2010 equaled </a:t>
            </a:r>
            <a:r>
              <a:rPr lang="en-US" sz="1800" b="1" dirty="0" smtClean="0"/>
              <a:t>$2 bn.</a:t>
            </a:r>
          </a:p>
          <a:p>
            <a:pPr marL="457200" indent="-457200">
              <a:spcBef>
                <a:spcPts val="400"/>
              </a:spcBef>
              <a:buFontTx/>
              <a:buAutoNum type="arabicPeriod"/>
            </a:pPr>
            <a:r>
              <a:rPr lang="en-US" sz="1800" dirty="0" smtClean="0"/>
              <a:t>Worldwide investments into energy efficiency in 2009 equaled </a:t>
            </a:r>
            <a:r>
              <a:rPr lang="en-US" sz="1800" b="1" dirty="0" smtClean="0"/>
              <a:t>$30 bn. </a:t>
            </a:r>
            <a:r>
              <a:rPr lang="en-US" sz="1800" dirty="0" smtClean="0"/>
              <a:t>and</a:t>
            </a:r>
            <a:r>
              <a:rPr lang="en-US" sz="1800" b="1" dirty="0" smtClean="0"/>
              <a:t> $243 bn. </a:t>
            </a:r>
            <a:r>
              <a:rPr lang="en-US" sz="1800" dirty="0" smtClean="0"/>
              <a:t>were invested into renewable energy.  </a:t>
            </a:r>
          </a:p>
          <a:p>
            <a:pPr marL="457200" indent="-457200">
              <a:spcBef>
                <a:spcPts val="400"/>
              </a:spcBef>
              <a:buFontTx/>
              <a:buAutoNum type="arabicPeriod" startAt="2"/>
            </a:pPr>
            <a:r>
              <a:rPr lang="en-US" sz="1800" dirty="0" smtClean="0"/>
              <a:t>The German market of energy efficient technologies was worth          </a:t>
            </a:r>
            <a:r>
              <a:rPr lang="en-US" sz="1800" b="1" dirty="0" smtClean="0"/>
              <a:t>67 bn. Euro </a:t>
            </a:r>
            <a:r>
              <a:rPr lang="en-US" sz="1800" dirty="0" smtClean="0"/>
              <a:t>in 2010 and </a:t>
            </a:r>
            <a:r>
              <a:rPr lang="en-US" sz="1800" b="1" dirty="0" smtClean="0"/>
              <a:t>25 bn. Euro </a:t>
            </a:r>
            <a:r>
              <a:rPr lang="en-US" sz="1800" dirty="0" smtClean="0"/>
              <a:t>were invested in renewable energy in 2010. </a:t>
            </a:r>
          </a:p>
          <a:p>
            <a:pPr marL="457200" indent="-457200">
              <a:buFontTx/>
              <a:buNone/>
            </a:pPr>
            <a:endParaRPr lang="ru-RU" sz="2000" dirty="0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WWW.THELIGHTHOUSEGROUP.RU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11B1D1-B17F-4495-9DDD-4B0D6341A27A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7174" name="Стрелка вниз 8"/>
          <p:cNvSpPr>
            <a:spLocks noChangeArrowheads="1"/>
          </p:cNvSpPr>
          <p:nvPr/>
        </p:nvSpPr>
        <p:spPr bwMode="auto">
          <a:xfrm>
            <a:off x="4143375" y="3139413"/>
            <a:ext cx="642938" cy="500062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003366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08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466" y="1841921"/>
            <a:ext cx="9048091" cy="2379166"/>
          </a:xfrm>
        </p:spPr>
        <p:txBody>
          <a:bodyPr/>
          <a:lstStyle/>
          <a:p>
            <a:pPr eaLnBrk="1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GB" sz="1800" b="1" dirty="0">
                <a:latin typeface="Arial" pitchFamily="34" charset="0"/>
                <a:cs typeface="Arial" pitchFamily="34" charset="0"/>
              </a:rPr>
              <a:t>Innovative products or </a:t>
            </a:r>
            <a:r>
              <a:rPr lang="en-GB" sz="1800" b="1" dirty="0" smtClean="0">
                <a:latin typeface="Arial" pitchFamily="34" charset="0"/>
                <a:cs typeface="Arial" pitchFamily="34" charset="0"/>
              </a:rPr>
              <a:t>technologies</a:t>
            </a:r>
            <a:r>
              <a:rPr lang="en-GB" sz="1800" dirty="0" smtClean="0">
                <a:latin typeface="Arial" pitchFamily="34" charset="0"/>
                <a:cs typeface="Arial" pitchFamily="34" charset="0"/>
              </a:rPr>
              <a:t>, which are:</a:t>
            </a:r>
          </a:p>
          <a:p>
            <a:pPr marL="628650" indent="-273050">
              <a:spcAft>
                <a:spcPts val="300"/>
              </a:spcAft>
              <a:buFont typeface="+mj-lt"/>
              <a:buAutoNum type="alphaLcParenR"/>
            </a:pPr>
            <a:r>
              <a:rPr lang="en-US" sz="1800" dirty="0">
                <a:latin typeface="Arial" pitchFamily="34" charset="0"/>
                <a:cs typeface="Arial" pitchFamily="34" charset="0"/>
              </a:rPr>
              <a:t>Simple</a:t>
            </a:r>
          </a:p>
          <a:p>
            <a:pPr marL="628650" indent="-273050">
              <a:spcAft>
                <a:spcPts val="300"/>
              </a:spcAft>
              <a:buFont typeface="+mj-lt"/>
              <a:buAutoNum type="alphaLcParenR"/>
            </a:pPr>
            <a:r>
              <a:rPr lang="en-US" sz="1800" dirty="0">
                <a:latin typeface="Arial" pitchFamily="34" charset="0"/>
                <a:cs typeface="Arial" pitchFamily="34" charset="0"/>
              </a:rPr>
              <a:t>Proven</a:t>
            </a:r>
          </a:p>
          <a:p>
            <a:pPr marL="628650" indent="-273050">
              <a:spcAft>
                <a:spcPts val="300"/>
              </a:spcAft>
              <a:buFont typeface="+mj-lt"/>
              <a:buAutoNum type="alphaLcParenR"/>
            </a:pPr>
            <a:r>
              <a:rPr lang="en-US" sz="1800" dirty="0">
                <a:latin typeface="Arial" pitchFamily="34" charset="0"/>
                <a:cs typeface="Arial" pitchFamily="34" charset="0"/>
              </a:rPr>
              <a:t>Replicable</a:t>
            </a:r>
          </a:p>
          <a:p>
            <a:pPr marL="628650" indent="-273050">
              <a:spcAft>
                <a:spcPts val="300"/>
              </a:spcAft>
              <a:buFont typeface="+mj-lt"/>
              <a:buAutoNum type="alphaLcParenR"/>
            </a:pPr>
            <a:r>
              <a:rPr lang="en-US" sz="1800" dirty="0">
                <a:latin typeface="Arial" pitchFamily="34" charset="0"/>
                <a:cs typeface="Arial" pitchFamily="34" charset="0"/>
              </a:rPr>
              <a:t>For a closed and controlled environment  </a:t>
            </a:r>
          </a:p>
          <a:p>
            <a:pPr marL="628650" indent="-273050">
              <a:spcAft>
                <a:spcPts val="300"/>
              </a:spcAft>
              <a:buFont typeface="+mj-lt"/>
              <a:buAutoNum type="alphaLcParenR"/>
            </a:pPr>
            <a:r>
              <a:rPr lang="en-US" sz="1800" dirty="0">
                <a:latin typeface="Arial" pitchFamily="34" charset="0"/>
                <a:cs typeface="Arial" pitchFamily="34" charset="0"/>
              </a:rPr>
              <a:t>Applicable to a mass market</a:t>
            </a:r>
          </a:p>
          <a:p>
            <a:pPr marL="0" indent="0" eaLnBrk="1" hangingPunct="1">
              <a:spcBef>
                <a:spcPts val="0"/>
              </a:spcBef>
              <a:spcAft>
                <a:spcPts val="600"/>
              </a:spcAft>
              <a:buNone/>
              <a:defRPr/>
            </a:pPr>
            <a:endParaRPr lang="en-GB" sz="1800" dirty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300"/>
              </a:spcAft>
              <a:buFont typeface="+mj-lt"/>
              <a:buAutoNum type="arabicPeriod"/>
            </a:pPr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WWW.THELIGHTHOUSEGROUP.RU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D2013D-D05B-45BE-960D-5C6D5EFD87A3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73025" y="836712"/>
            <a:ext cx="90709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/>
              <a:t>Business opportunities in EE on the Russian market</a:t>
            </a:r>
            <a:endParaRPr lang="en-US" dirty="0"/>
          </a:p>
        </p:txBody>
      </p:sp>
      <p:sp>
        <p:nvSpPr>
          <p:cNvPr id="8" name="Right Arrow 7"/>
          <p:cNvSpPr/>
          <p:nvPr/>
        </p:nvSpPr>
        <p:spPr bwMode="auto">
          <a:xfrm>
            <a:off x="73025" y="5021887"/>
            <a:ext cx="696578" cy="644141"/>
          </a:xfrm>
          <a:prstGeom prst="rightArrow">
            <a:avLst/>
          </a:prstGeom>
          <a:solidFill>
            <a:srgbClr val="003366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15616" y="4437112"/>
            <a:ext cx="77768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899592" y="4235961"/>
            <a:ext cx="8136904" cy="2215991"/>
          </a:xfrm>
          <a:prstGeom prst="rect">
            <a:avLst/>
          </a:prstGeom>
          <a:ln w="38100">
            <a:solidFill>
              <a:srgbClr val="00336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704850" lvl="1" indent="-342900" eaLnBrk="1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GB" sz="16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Products that can be used in and around the built environment</a:t>
            </a:r>
            <a:r>
              <a:rPr lang="en-GB" sz="160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GB" sz="1600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insulation </a:t>
            </a:r>
            <a:r>
              <a:rPr lang="en-GB" sz="160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materials, energy efficient heating and cooling systems, lighting, intelligent control systems, smart meters and energy efficient </a:t>
            </a:r>
            <a:r>
              <a:rPr lang="en-GB" sz="1600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appliances.</a:t>
            </a:r>
          </a:p>
          <a:p>
            <a:pPr marL="704850" lvl="1" indent="-342900" eaLnBrk="1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GB" sz="1600" b="1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echnologies </a:t>
            </a:r>
            <a:r>
              <a:rPr lang="en-GB" sz="16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that can essentially be used in any industry</a:t>
            </a:r>
            <a:r>
              <a:rPr lang="en-GB" sz="1600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:                             </a:t>
            </a:r>
            <a:r>
              <a:rPr lang="en-GB" sz="160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pumps, electric motors, compressed air systems and measurement and control systems are of interest. </a:t>
            </a:r>
            <a:endParaRPr lang="en-GB" sz="1600" dirty="0" smtClean="0">
              <a:solidFill>
                <a:srgbClr val="003366"/>
              </a:solidFill>
              <a:latin typeface="Arial" pitchFamily="34" charset="0"/>
              <a:cs typeface="Arial" pitchFamily="34" charset="0"/>
            </a:endParaRPr>
          </a:p>
          <a:p>
            <a:pPr marL="704850" lvl="1" indent="-342900" eaLnBrk="1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/>
            </a:pPr>
            <a:r>
              <a:rPr lang="en-GB" sz="1600" b="1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Consulting </a:t>
            </a:r>
            <a:r>
              <a:rPr lang="en-GB" sz="1600" b="1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services</a:t>
            </a:r>
            <a:r>
              <a:rPr lang="en-GB" sz="160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GB" sz="1600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                                                                                                 advice </a:t>
            </a:r>
            <a:r>
              <a:rPr lang="en-GB" sz="160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on energy-efficient methods and production processes</a:t>
            </a:r>
            <a:r>
              <a:rPr lang="en-GB" sz="1600" dirty="0" smtClean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655461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326" b="93023" l="0" r="1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6804249" y="1834355"/>
            <a:ext cx="2411982" cy="19481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WWW.THELIGHTHOUSEGROUP.RU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D2013D-D05B-45BE-960D-5C6D5EFD87A3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95909" y="777826"/>
            <a:ext cx="9070975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Energy efficient solutions in the </a:t>
            </a:r>
            <a:r>
              <a:rPr lang="en-US" b="1" u="sng" dirty="0" smtClean="0"/>
              <a:t>retail sector:</a:t>
            </a:r>
          </a:p>
          <a:p>
            <a:pPr algn="ctr"/>
            <a:r>
              <a:rPr lang="en-US" sz="2800" b="1" u="sng" dirty="0" smtClean="0"/>
              <a:t>Behr A/S (Denmark) glass covers for freezer islands</a:t>
            </a:r>
            <a:endParaRPr lang="en-US" sz="2800" b="1" u="sng" dirty="0"/>
          </a:p>
          <a:p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2274563" y="1834355"/>
            <a:ext cx="4713666" cy="2453309"/>
          </a:xfrm>
          <a:prstGeom prst="rect">
            <a:avLst/>
          </a:prstGeom>
          <a:ln w="38100">
            <a:solidFill>
              <a:srgbClr val="00336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PERMARKET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eduction of energy consumption by 50%;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eduction of CO2 emissions by 30%;</a:t>
            </a:r>
          </a:p>
          <a:p>
            <a:pPr marL="342900" indent="-342900" fontAlgn="auto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b="1" kern="0" dirty="0">
                <a:solidFill>
                  <a:srgbClr val="003366"/>
                </a:solidFill>
                <a:latin typeface="Arial" pitchFamily="34" charset="0"/>
                <a:cs typeface="Arial" pitchFamily="34" charset="0"/>
              </a:rPr>
              <a:t>Longer lifecycle of equipment;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mproved hygienic conditions and temperature safety;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creased sales</a:t>
            </a:r>
            <a:r>
              <a:rPr kumimoji="0" lang="en-US" sz="1600" b="1" i="0" u="none" strike="noStrike" kern="0" cap="none" spc="0" normalizeH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and n</a:t>
            </a: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w merchandising opportunities.</a:t>
            </a:r>
            <a:endParaRPr kumimoji="0" lang="ru-RU" sz="1400" b="1" i="0" u="sng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3157" y="4287665"/>
            <a:ext cx="2808312" cy="2232248"/>
          </a:xfrm>
          <a:prstGeom prst="rect">
            <a:avLst/>
          </a:prstGeom>
          <a:ln w="38100">
            <a:solidFill>
              <a:srgbClr val="00336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     </a:t>
            </a:r>
            <a:r>
              <a:rPr kumimoji="0" lang="en-US" sz="2000" b="1" i="0" u="sng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SUMERS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igher quality </a:t>
            </a: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f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rozen </a:t>
            </a: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ods;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roved service, i.e. visibility, access;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roved store climate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012160" y="4287664"/>
            <a:ext cx="3024336" cy="2237679"/>
          </a:xfrm>
          <a:prstGeom prst="rect">
            <a:avLst/>
          </a:prstGeom>
          <a:ln w="38100">
            <a:solidFill>
              <a:srgbClr val="00336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CONOMY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nergy cost reduction;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2 emissions reduction;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nergy efficient retail sector;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Upselling opportunities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</p:txBody>
      </p:sp>
      <p:pic>
        <p:nvPicPr>
          <p:cNvPr id="23" name="Pladsholder til billede 4" descr="BEHR_Curve (11).jpg"/>
          <p:cNvPicPr>
            <a:picLocks noChangeAspect="1"/>
          </p:cNvPicPr>
          <p:nvPr/>
        </p:nvPicPr>
        <p:blipFill>
          <a:blip r:embed="rId4" cstate="print"/>
          <a:srcRect t="1620" b="1620"/>
          <a:stretch>
            <a:fillRect/>
          </a:stretch>
        </p:blipFill>
        <p:spPr bwMode="auto">
          <a:xfrm>
            <a:off x="3118604" y="4547585"/>
            <a:ext cx="2669273" cy="17178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Billede 3" descr="slidingGlassCU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575" y="2015473"/>
            <a:ext cx="2262987" cy="176857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776014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WWW.THELIGHTHOUSEGROUP.RU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D2013D-D05B-45BE-960D-5C6D5EFD87A3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  <p:sp>
        <p:nvSpPr>
          <p:cNvPr id="11" name="Rectangle 10"/>
          <p:cNvSpPr/>
          <p:nvPr/>
        </p:nvSpPr>
        <p:spPr>
          <a:xfrm>
            <a:off x="183656" y="1495122"/>
            <a:ext cx="3909516" cy="4968552"/>
          </a:xfrm>
          <a:prstGeom prst="rect">
            <a:avLst/>
          </a:prstGeom>
          <a:noFill/>
          <a:ln w="57150">
            <a:solidFill>
              <a:srgbClr val="00336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1" i="0" u="sng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en-US" sz="2000" b="1" i="0" u="sng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20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ANISH</a:t>
            </a:r>
            <a:r>
              <a:rPr kumimoji="0" lang="en-US" sz="2000" b="1" i="0" u="sng" strike="noStrike" kern="0" cap="none" spc="0" normalizeH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MARKET </a:t>
            </a:r>
            <a:endParaRPr kumimoji="0" lang="en-US" sz="2000" b="1" i="0" u="sng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.804 food retail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ores</a:t>
            </a:r>
            <a:endParaRPr kumimoji="0" lang="da-DK" sz="1800" b="1" i="0" u="none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verage size of order (incl. installation) = 10 000 EUR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anish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rket for glass covers 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quals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8.000.000 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UR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hr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/S 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upplied to 840 stores = 30% of the market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tal Behr A/S sales</a:t>
            </a:r>
            <a:r>
              <a:rPr kumimoji="0" lang="ru-RU" sz="18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 Denmark = 8.400.000. EU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da-DK" sz="1800" b="0" i="0" u="none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860032" y="1484784"/>
            <a:ext cx="4118868" cy="4968552"/>
          </a:xfrm>
          <a:prstGeom prst="rect">
            <a:avLst/>
          </a:prstGeom>
          <a:noFill/>
          <a:ln w="57150">
            <a:solidFill>
              <a:srgbClr val="00336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20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USSIAN MARKET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9.713 food retail store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tential Russian market for glass covers (est.) equals 1.290.000.000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UR. 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tential of Behr A/S = 388,6 </a:t>
            </a:r>
            <a:r>
              <a:rPr kumimoji="0" lang="en-US" sz="1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ln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tential Behr A/S clients: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maller market of frozen food – 50% reduction of market 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har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% of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e Russian freezer islands are 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ot worth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quipping 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end of lifecycle)                              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sz="18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ales </a:t>
            </a:r>
            <a:r>
              <a:rPr kumimoji="0" lang="en-US" sz="1800" b="1" i="0" u="sng" strike="noStrike" kern="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tential </a:t>
            </a:r>
            <a:r>
              <a:rPr kumimoji="0" lang="en-US" sz="1800" b="1" i="0" u="sng" strike="noStrike" kern="0" cap="none" spc="0" normalizeH="0" baseline="0" noProof="0" dirty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f Behr A/S in Russia (est.) = 97.150.000 EUR    = 7,5% of the market</a:t>
            </a:r>
            <a:endParaRPr kumimoji="0" lang="ru-RU" sz="1800" b="0" i="0" u="sng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59767" y="3645024"/>
            <a:ext cx="864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VS</a:t>
            </a:r>
            <a:endParaRPr kumimoji="0" lang="ru-RU" sz="3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5909" y="884186"/>
            <a:ext cx="90709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/>
              <a:t>Potential of the Russian mark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334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WWW.THELIGHTHOUSEGROUP.RU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D2013D-D05B-45BE-960D-5C6D5EFD87A3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pic>
        <p:nvPicPr>
          <p:cNvPr id="51204" name="Picture 4" descr="http://www.remiglas.de/typo3temp/pics/0474aa11d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925" y="4365104"/>
            <a:ext cx="2952750" cy="20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06" name="Picture 6" descr="http://www.remiglas.de/typo3temp/pics/dfc4646b8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561" y="4365104"/>
            <a:ext cx="2952750" cy="20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08" name="Picture 8" descr="http://www.remiglas.de/typo3temp/pics/08c9f193a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5" y="4365104"/>
            <a:ext cx="2762772" cy="20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44008" y="1492042"/>
            <a:ext cx="415252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b="1" dirty="0" smtClean="0"/>
          </a:p>
          <a:p>
            <a:pPr algn="ctr"/>
            <a:r>
              <a:rPr lang="en-US" b="1" dirty="0" smtClean="0"/>
              <a:t>REMIS GmbH</a:t>
            </a:r>
          </a:p>
          <a:p>
            <a:pPr algn="ctr"/>
            <a:r>
              <a:rPr lang="en-US" dirty="0" smtClean="0"/>
              <a:t>Köln, Germany</a:t>
            </a:r>
            <a:endParaRPr lang="en-US" b="1" dirty="0" smtClean="0"/>
          </a:p>
          <a:p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510013"/>
            <a:ext cx="3665862" cy="172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06809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RfNSmgdkuqa301vPE_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rfnUiCMkWORiZra_gH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x3p1Mw20SYAevf_CyD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SRyH7ru0SksxUKb8VpzA"/>
</p:tagLst>
</file>

<file path=ppt/theme/theme1.xml><?xml version="1.0" encoding="utf-8"?>
<a:theme xmlns:a="http://schemas.openxmlformats.org/drawingml/2006/main" name="COVER">
  <a:themeElements>
    <a:clrScheme name="COV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VER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3200" b="0" i="0" u="none" strike="noStrike" cap="none" normalizeH="0" baseline="0" smtClean="0">
            <a:ln>
              <a:noFill/>
            </a:ln>
            <a:solidFill>
              <a:srgbClr val="0033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3200" b="0" i="0" u="none" strike="noStrike" cap="none" normalizeH="0" baseline="0" smtClean="0">
            <a:ln>
              <a:noFill/>
            </a:ln>
            <a:solidFill>
              <a:srgbClr val="0033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OV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89</TotalTime>
  <Words>548</Words>
  <Application>Microsoft Office PowerPoint</Application>
  <PresentationFormat>On-screen Show (4:3)</PresentationFormat>
  <Paragraphs>95</Paragraphs>
  <Slides>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COVER</vt:lpstr>
      <vt:lpstr>think-cell Slide</vt:lpstr>
      <vt:lpstr>PowerPoint Presentation</vt:lpstr>
      <vt:lpstr>PowerPoint Presentation</vt:lpstr>
      <vt:lpstr>Investment into Energy Efficiency in Russia</vt:lpstr>
      <vt:lpstr>PowerPoint Presentation</vt:lpstr>
      <vt:lpstr>PowerPoint Presentation</vt:lpstr>
      <vt:lpstr>PowerPoint Presentation</vt:lpstr>
      <vt:lpstr>PowerPoint Presentation</vt:lpstr>
    </vt:vector>
  </TitlesOfParts>
  <Company>Nh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Дарья</dc:creator>
  <cp:lastModifiedBy>anastasia</cp:lastModifiedBy>
  <cp:revision>514</cp:revision>
  <dcterms:created xsi:type="dcterms:W3CDTF">2010-05-26T06:17:46Z</dcterms:created>
  <dcterms:modified xsi:type="dcterms:W3CDTF">2012-07-10T08:0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Слайд 1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/>
  </property>
  <property fmtid="{D5CDD505-2E9C-101B-9397-08002B2CF9AE}" pid="6" name="docid">
    <vt:lpwstr/>
  </property>
</Properties>
</file>